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5.xml" ContentType="application/vnd.openxmlformats-officedocument.themeOverrid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256" r:id="rId2"/>
    <p:sldId id="269" r:id="rId3"/>
    <p:sldId id="258" r:id="rId4"/>
    <p:sldId id="270" r:id="rId5"/>
    <p:sldId id="278" r:id="rId6"/>
    <p:sldId id="279" r:id="rId7"/>
    <p:sldId id="280" r:id="rId8"/>
    <p:sldId id="281" r:id="rId9"/>
    <p:sldId id="283" r:id="rId10"/>
    <p:sldId id="285" r:id="rId11"/>
    <p:sldId id="284" r:id="rId12"/>
    <p:sldId id="286" r:id="rId13"/>
    <p:sldId id="287" r:id="rId14"/>
    <p:sldId id="261" r:id="rId15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755E"/>
    <a:srgbClr val="1E345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562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7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>
            <a:extLst>
              <a:ext uri="{FF2B5EF4-FFF2-40B4-BE49-F238E27FC236}">
                <a16:creationId xmlns:a16="http://schemas.microsoft.com/office/drawing/2014/main" id="{978B1EC3-4D1E-4EB1-BEFB-3E8703EEFC96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4D6B3D4-423C-4383-A1DC-741F23A3F489}"/>
              </a:ext>
            </a:extLst>
          </p:cNvPr>
          <p:cNvSpPr/>
          <p:nvPr userDrawn="1"/>
        </p:nvSpPr>
        <p:spPr>
          <a:xfrm>
            <a:off x="0" y="-2"/>
            <a:ext cx="12192000" cy="686778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6AE5E61B-3C99-4910-9501-36BA9FC99506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BA10F15C-08CC-4803-BED6-1A19E4F26751}"/>
              </a:ext>
            </a:extLst>
          </p:cNvPr>
          <p:cNvSpPr>
            <a:spLocks/>
          </p:cNvSpPr>
          <p:nvPr userDrawn="1"/>
        </p:nvSpPr>
        <p:spPr bwMode="auto">
          <a:xfrm>
            <a:off x="0" y="140970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C0922505-EE2D-4160-BDDD-ED05F90268E9}"/>
              </a:ext>
            </a:extLst>
          </p:cNvPr>
          <p:cNvSpPr>
            <a:spLocks/>
          </p:cNvSpPr>
          <p:nvPr userDrawn="1"/>
        </p:nvSpPr>
        <p:spPr bwMode="auto">
          <a:xfrm>
            <a:off x="0" y="2759946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11B12D81-D140-4823-B240-25B48F1560DB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136497"/>
            <a:ext cx="10845800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232152"/>
            <a:ext cx="10845800" cy="887474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" name="不完整圆 2">
            <a:extLst>
              <a:ext uri="{FF2B5EF4-FFF2-40B4-BE49-F238E27FC236}">
                <a16:creationId xmlns:a16="http://schemas.microsoft.com/office/drawing/2014/main" id="{9660664D-C6D2-4810-A5F9-F7A81F6DB66B}"/>
              </a:ext>
            </a:extLst>
          </p:cNvPr>
          <p:cNvSpPr/>
          <p:nvPr userDrawn="1"/>
        </p:nvSpPr>
        <p:spPr>
          <a:xfrm rot="10800000">
            <a:off x="9700986" y="6154763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弧形 13">
            <a:extLst>
              <a:ext uri="{FF2B5EF4-FFF2-40B4-BE49-F238E27FC236}">
                <a16:creationId xmlns:a16="http://schemas.microsoft.com/office/drawing/2014/main" id="{55C1BC0B-B3C8-49B1-B1C9-E68FD4D49042}"/>
              </a:ext>
            </a:extLst>
          </p:cNvPr>
          <p:cNvSpPr/>
          <p:nvPr userDrawn="1"/>
        </p:nvSpPr>
        <p:spPr>
          <a:xfrm rot="16200000">
            <a:off x="9287328" y="5742214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E58E880A-DB73-49BA-8C6C-486DA1136812}"/>
              </a:ext>
            </a:extLst>
          </p:cNvPr>
          <p:cNvSpPr/>
          <p:nvPr userDrawn="1"/>
        </p:nvSpPr>
        <p:spPr>
          <a:xfrm>
            <a:off x="-1" y="9777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29E4F6D-0847-4EDC-9282-5C7424418E7A}"/>
              </a:ext>
            </a:extLst>
          </p:cNvPr>
          <p:cNvSpPr/>
          <p:nvPr userDrawn="1"/>
        </p:nvSpPr>
        <p:spPr>
          <a:xfrm>
            <a:off x="0" y="0"/>
            <a:ext cx="12222162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8534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8546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24526C06-9180-4AA2-A337-97AF05C5B62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623077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8FB73EEF-0A8E-41C3-BC89-7097A3055D6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6126162" y="0"/>
            <a:ext cx="6065838" cy="5448300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AEBB6B4B-B08E-4C0C-AD2F-44492330DDA6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7626577" y="0"/>
            <a:ext cx="4565423" cy="4100636"/>
          </a:xfrm>
          <a:custGeom>
            <a:avLst/>
            <a:gdLst>
              <a:gd name="T0" fmla="*/ 0 w 1904"/>
              <a:gd name="T1" fmla="*/ 68 h 1712"/>
              <a:gd name="T2" fmla="*/ 444 w 1904"/>
              <a:gd name="T3" fmla="*/ 296 h 1712"/>
              <a:gd name="T4" fmla="*/ 620 w 1904"/>
              <a:gd name="T5" fmla="*/ 1036 h 1712"/>
              <a:gd name="T6" fmla="*/ 1288 w 1904"/>
              <a:gd name="T7" fmla="*/ 1052 h 1712"/>
              <a:gd name="T8" fmla="*/ 1624 w 1904"/>
              <a:gd name="T9" fmla="*/ 1712 h 1712"/>
              <a:gd name="T10" fmla="*/ 0 w 1904"/>
              <a:gd name="T11" fmla="*/ 1712 h 1712"/>
              <a:gd name="T12" fmla="*/ 0 w 1904"/>
              <a:gd name="T13" fmla="*/ 68 h 1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4" h="1712">
                <a:moveTo>
                  <a:pt x="0" y="68"/>
                </a:moveTo>
                <a:cubicBezTo>
                  <a:pt x="0" y="68"/>
                  <a:pt x="416" y="0"/>
                  <a:pt x="444" y="296"/>
                </a:cubicBezTo>
                <a:cubicBezTo>
                  <a:pt x="472" y="592"/>
                  <a:pt x="488" y="976"/>
                  <a:pt x="620" y="1036"/>
                </a:cubicBezTo>
                <a:cubicBezTo>
                  <a:pt x="752" y="1096"/>
                  <a:pt x="1080" y="1072"/>
                  <a:pt x="1288" y="1052"/>
                </a:cubicBezTo>
                <a:cubicBezTo>
                  <a:pt x="1491" y="1032"/>
                  <a:pt x="1904" y="976"/>
                  <a:pt x="1624" y="1712"/>
                </a:cubicBezTo>
                <a:cubicBezTo>
                  <a:pt x="0" y="1712"/>
                  <a:pt x="0" y="1712"/>
                  <a:pt x="0" y="1712"/>
                </a:cubicBezTo>
                <a:lnTo>
                  <a:pt x="0" y="68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9B0DEFD1-6512-4107-9860-B8C063E2FBC3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-30162" y="4891087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" name="星形: 四角 2">
            <a:extLst>
              <a:ext uri="{FF2B5EF4-FFF2-40B4-BE49-F238E27FC236}">
                <a16:creationId xmlns:a16="http://schemas.microsoft.com/office/drawing/2014/main" id="{803DCD51-4C00-4158-B456-0121BC73FD6F}"/>
              </a:ext>
            </a:extLst>
          </p:cNvPr>
          <p:cNvSpPr/>
          <p:nvPr userDrawn="1"/>
        </p:nvSpPr>
        <p:spPr>
          <a:xfrm>
            <a:off x="675698" y="702371"/>
            <a:ext cx="626594" cy="626594"/>
          </a:xfrm>
          <a:prstGeom prst="star4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2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7/2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>
            <a:extLst>
              <a:ext uri="{FF2B5EF4-FFF2-40B4-BE49-F238E27FC236}">
                <a16:creationId xmlns:a16="http://schemas.microsoft.com/office/drawing/2014/main" id="{9014DB85-54DF-4983-96A9-293173F2BC56}"/>
              </a:ext>
            </a:extLst>
          </p:cNvPr>
          <p:cNvSpPr/>
          <p:nvPr userDrawn="1"/>
        </p:nvSpPr>
        <p:spPr>
          <a:xfrm>
            <a:off x="-1" y="724"/>
            <a:ext cx="12192000" cy="685800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8BA982E-6230-40B7-8EA9-8A1558CD29AB}"/>
              </a:ext>
            </a:extLst>
          </p:cNvPr>
          <p:cNvSpPr/>
          <p:nvPr userDrawn="1"/>
        </p:nvSpPr>
        <p:spPr>
          <a:xfrm>
            <a:off x="0" y="3837"/>
            <a:ext cx="12192000" cy="685800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11">
            <a:extLst>
              <a:ext uri="{FF2B5EF4-FFF2-40B4-BE49-F238E27FC236}">
                <a16:creationId xmlns:a16="http://schemas.microsoft.com/office/drawing/2014/main" id="{3AC2B1D4-E172-466A-9834-92BB0DE6D837}"/>
              </a:ext>
            </a:extLst>
          </p:cNvPr>
          <p:cNvSpPr>
            <a:spLocks/>
          </p:cNvSpPr>
          <p:nvPr userDrawn="1"/>
        </p:nvSpPr>
        <p:spPr bwMode="auto">
          <a:xfrm>
            <a:off x="7784192" y="-1"/>
            <a:ext cx="4429579" cy="223492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E345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F8EF82D-499A-40FF-8C43-25683D7F3243}"/>
              </a:ext>
            </a:extLst>
          </p:cNvPr>
          <p:cNvGrpSpPr/>
          <p:nvPr userDrawn="1"/>
        </p:nvGrpSpPr>
        <p:grpSpPr>
          <a:xfrm>
            <a:off x="0" y="1409700"/>
            <a:ext cx="6065838" cy="5450882"/>
            <a:chOff x="0" y="1409700"/>
            <a:chExt cx="6065838" cy="545088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38ACE5B-8997-4814-B1D4-756E3D5CB4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409700"/>
              <a:ext cx="6065838" cy="5448300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205F680-BBB8-4037-B92C-C9B6CEF820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2759946"/>
              <a:ext cx="4565423" cy="4100636"/>
            </a:xfrm>
            <a:custGeom>
              <a:avLst/>
              <a:gdLst>
                <a:gd name="T0" fmla="*/ 0 w 1904"/>
                <a:gd name="T1" fmla="*/ 68 h 1712"/>
                <a:gd name="T2" fmla="*/ 444 w 1904"/>
                <a:gd name="T3" fmla="*/ 296 h 1712"/>
                <a:gd name="T4" fmla="*/ 620 w 1904"/>
                <a:gd name="T5" fmla="*/ 1036 h 1712"/>
                <a:gd name="T6" fmla="*/ 1288 w 1904"/>
                <a:gd name="T7" fmla="*/ 1052 h 1712"/>
                <a:gd name="T8" fmla="*/ 1624 w 1904"/>
                <a:gd name="T9" fmla="*/ 1712 h 1712"/>
                <a:gd name="T10" fmla="*/ 0 w 1904"/>
                <a:gd name="T11" fmla="*/ 1712 h 1712"/>
                <a:gd name="T12" fmla="*/ 0 w 1904"/>
                <a:gd name="T13" fmla="*/ 68 h 1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712">
                  <a:moveTo>
                    <a:pt x="0" y="68"/>
                  </a:moveTo>
                  <a:cubicBezTo>
                    <a:pt x="0" y="68"/>
                    <a:pt x="416" y="0"/>
                    <a:pt x="444" y="296"/>
                  </a:cubicBezTo>
                  <a:cubicBezTo>
                    <a:pt x="472" y="592"/>
                    <a:pt x="488" y="976"/>
                    <a:pt x="620" y="1036"/>
                  </a:cubicBezTo>
                  <a:cubicBezTo>
                    <a:pt x="752" y="1096"/>
                    <a:pt x="1080" y="1072"/>
                    <a:pt x="1288" y="1052"/>
                  </a:cubicBezTo>
                  <a:cubicBezTo>
                    <a:pt x="1491" y="1032"/>
                    <a:pt x="1904" y="976"/>
                    <a:pt x="1624" y="1712"/>
                  </a:cubicBezTo>
                  <a:cubicBezTo>
                    <a:pt x="0" y="1712"/>
                    <a:pt x="0" y="1712"/>
                    <a:pt x="0" y="1712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rgbClr val="1E34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" name="Freeform 11">
            <a:extLst>
              <a:ext uri="{FF2B5EF4-FFF2-40B4-BE49-F238E27FC236}">
                <a16:creationId xmlns:a16="http://schemas.microsoft.com/office/drawing/2014/main" id="{C94B6344-FE73-4125-8990-1CCF46599B70}"/>
              </a:ext>
            </a:extLst>
          </p:cNvPr>
          <p:cNvSpPr>
            <a:spLocks/>
          </p:cNvSpPr>
          <p:nvPr userDrawn="1"/>
        </p:nvSpPr>
        <p:spPr bwMode="auto">
          <a:xfrm>
            <a:off x="8067222" y="0"/>
            <a:ext cx="4146550" cy="1966913"/>
          </a:xfrm>
          <a:custGeom>
            <a:avLst/>
            <a:gdLst>
              <a:gd name="T0" fmla="*/ 0 w 1300"/>
              <a:gd name="T1" fmla="*/ 0 h 616"/>
              <a:gd name="T2" fmla="*/ 440 w 1300"/>
              <a:gd name="T3" fmla="*/ 360 h 616"/>
              <a:gd name="T4" fmla="*/ 868 w 1300"/>
              <a:gd name="T5" fmla="*/ 288 h 616"/>
              <a:gd name="T6" fmla="*/ 1296 w 1300"/>
              <a:gd name="T7" fmla="*/ 520 h 616"/>
              <a:gd name="T8" fmla="*/ 1296 w 1300"/>
              <a:gd name="T9" fmla="*/ 0 h 616"/>
              <a:gd name="T10" fmla="*/ 0 w 1300"/>
              <a:gd name="T11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0" h="616">
                <a:moveTo>
                  <a:pt x="0" y="0"/>
                </a:moveTo>
                <a:cubicBezTo>
                  <a:pt x="0" y="0"/>
                  <a:pt x="172" y="356"/>
                  <a:pt x="440" y="360"/>
                </a:cubicBezTo>
                <a:cubicBezTo>
                  <a:pt x="548" y="362"/>
                  <a:pt x="592" y="288"/>
                  <a:pt x="868" y="288"/>
                </a:cubicBezTo>
                <a:cubicBezTo>
                  <a:pt x="1144" y="288"/>
                  <a:pt x="1292" y="424"/>
                  <a:pt x="1296" y="520"/>
                </a:cubicBezTo>
                <a:cubicBezTo>
                  <a:pt x="1300" y="616"/>
                  <a:pt x="1296" y="0"/>
                  <a:pt x="12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不完整圆 10">
            <a:extLst>
              <a:ext uri="{FF2B5EF4-FFF2-40B4-BE49-F238E27FC236}">
                <a16:creationId xmlns:a16="http://schemas.microsoft.com/office/drawing/2014/main" id="{27D45CB3-D3E8-49C1-AD18-984B669955A8}"/>
              </a:ext>
            </a:extLst>
          </p:cNvPr>
          <p:cNvSpPr/>
          <p:nvPr userDrawn="1"/>
        </p:nvSpPr>
        <p:spPr>
          <a:xfrm>
            <a:off x="1170215" y="-718230"/>
            <a:ext cx="1426029" cy="1426029"/>
          </a:xfrm>
          <a:prstGeom prst="pie">
            <a:avLst>
              <a:gd name="adj1" fmla="val 0"/>
              <a:gd name="adj2" fmla="val 107747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弧形 11">
            <a:extLst>
              <a:ext uri="{FF2B5EF4-FFF2-40B4-BE49-F238E27FC236}">
                <a16:creationId xmlns:a16="http://schemas.microsoft.com/office/drawing/2014/main" id="{F0AC4181-13AD-46AE-B4AA-26505246DCAA}"/>
              </a:ext>
            </a:extLst>
          </p:cNvPr>
          <p:cNvSpPr/>
          <p:nvPr userDrawn="1"/>
        </p:nvSpPr>
        <p:spPr>
          <a:xfrm rot="5400000">
            <a:off x="756557" y="-1119893"/>
            <a:ext cx="2231571" cy="2231571"/>
          </a:xfrm>
          <a:prstGeom prst="arc">
            <a:avLst>
              <a:gd name="adj1" fmla="val 16200000"/>
              <a:gd name="adj2" fmla="val 5407973"/>
            </a:avLst>
          </a:prstGeom>
          <a:ln w="25400" cap="flat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235461" y="2143121"/>
            <a:ext cx="59308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235461" y="4449357"/>
            <a:ext cx="59308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5463" y="4153086"/>
            <a:ext cx="5930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7/2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Qs6tC3B43S/" TargetMode="Externa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DKwW3X75YZ/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paste.ubuntu.com/p/fk6XQf2mYN/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7.17-7.23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暑假阶段学习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21/7/23</a:t>
            </a:r>
            <a:endParaRPr lang="en-US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2FC2DA67-8835-4650-8786-A12EDF50C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363278"/>
            <a:ext cx="7944202" cy="3955481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ABA7639F-C239-4FCC-9250-E8EA71C47467}"/>
              </a:ext>
            </a:extLst>
          </p:cNvPr>
          <p:cNvSpPr txBox="1"/>
          <p:nvPr/>
        </p:nvSpPr>
        <p:spPr>
          <a:xfrm>
            <a:off x="9339309" y="1953087"/>
            <a:ext cx="1731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D</a:t>
            </a:r>
          </a:p>
          <a:p>
            <a:r>
              <a:rPr lang="zh-CN" altLang="en-US" dirty="0"/>
              <a:t>补</a:t>
            </a:r>
            <a:r>
              <a:rPr lang="en-US" altLang="zh-CN" dirty="0"/>
              <a:t>I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2444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3CA3AC-3A96-4587-B5D0-9F516E6E8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zh-CN" b="1" i="0" dirty="0" err="1">
                <a:solidFill>
                  <a:srgbClr val="4F4F4F"/>
                </a:solidFill>
                <a:effectLst/>
                <a:latin typeface="PingFang SC"/>
              </a:rPr>
              <a:t>I.Penguins</a:t>
            </a:r>
            <a:endParaRPr lang="en-US" altLang="zh-CN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4B73C2-7C45-4C78-816C-145B0744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026F0E-348D-4476-AC2C-AE4130EF8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113B721-99D1-4320-AF56-2388B0552B5E}"/>
              </a:ext>
            </a:extLst>
          </p:cNvPr>
          <p:cNvSpPr txBox="1"/>
          <p:nvPr/>
        </p:nvSpPr>
        <p:spPr>
          <a:xfrm>
            <a:off x="746760" y="1371600"/>
            <a:ext cx="74828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BFS</a:t>
            </a:r>
          </a:p>
          <a:p>
            <a:endParaRPr lang="en-US" altLang="zh-CN" dirty="0"/>
          </a:p>
          <a:p>
            <a:r>
              <a:rPr lang="zh-CN" altLang="en-US" dirty="0"/>
              <a:t>其实就是简单的</a:t>
            </a:r>
            <a:r>
              <a:rPr lang="en-US" altLang="zh-CN" dirty="0"/>
              <a:t>BFS</a:t>
            </a:r>
            <a:r>
              <a:rPr lang="zh-CN" altLang="en-US" dirty="0"/>
              <a:t>，比赛时思路一直被</a:t>
            </a:r>
            <a:r>
              <a:rPr lang="en-US" altLang="zh-CN" dirty="0"/>
              <a:t>F</a:t>
            </a:r>
            <a:r>
              <a:rPr lang="zh-CN" altLang="en-US" dirty="0"/>
              <a:t>缠住了，导致这题最后没时间打出来。思路就是当两个目标同时移动的时候，可以用一个四维数组记录他们两个的位置状况，即</a:t>
            </a:r>
            <a:r>
              <a:rPr lang="en-US" altLang="zh-CN" dirty="0"/>
              <a:t>vis[x1][y1][x2][y2]​</a:t>
            </a:r>
            <a:r>
              <a:rPr lang="zh-CN" altLang="en-US" dirty="0"/>
              <a:t>记录当前位置</a:t>
            </a:r>
            <a:r>
              <a:rPr lang="en-US" altLang="zh-CN" dirty="0"/>
              <a:t>( x 1 , y 1 ) , ( x 2 , y 2 ) </a:t>
            </a:r>
            <a:r>
              <a:rPr lang="zh-CN" altLang="en-US" dirty="0"/>
              <a:t>（</a:t>
            </a:r>
            <a:r>
              <a:rPr lang="en-US" altLang="zh-CN" dirty="0"/>
              <a:t>x 1​ ,y 1​),(x 2​,y 2​)​​​</a:t>
            </a:r>
            <a:r>
              <a:rPr lang="zh-CN" altLang="en-US" dirty="0"/>
              <a:t>的状态，“</a:t>
            </a:r>
            <a:r>
              <a:rPr lang="en-US" altLang="zh-CN" dirty="0"/>
              <a:t>0”</a:t>
            </a:r>
            <a:r>
              <a:rPr lang="zh-CN" altLang="en-US" dirty="0"/>
              <a:t>表示没走过，正常走流程就行了。</a:t>
            </a:r>
          </a:p>
        </p:txBody>
      </p:sp>
    </p:spTree>
    <p:extLst>
      <p:ext uri="{BB962C8B-B14F-4D97-AF65-F5344CB8AC3E}">
        <p14:creationId xmlns:p14="http://schemas.microsoft.com/office/powerpoint/2010/main" val="19874340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C6A04E-0EC7-453F-98D5-60D549F55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76C45F0-8927-41B2-A831-6E516FBA7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4CBEFAC-8FC3-4830-9573-6F4164BF4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EC3A492-9914-4A9D-893A-B4703147E51F}"/>
              </a:ext>
            </a:extLst>
          </p:cNvPr>
          <p:cNvSpPr txBox="1"/>
          <p:nvPr/>
        </p:nvSpPr>
        <p:spPr>
          <a:xfrm>
            <a:off x="669924" y="152221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82170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杭电</a:t>
            </a:r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正在做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70334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2021/7/23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</a:t>
                </a:r>
              </a:p>
              <a:p>
                <a:pPr marL="342900" indent="-342900">
                  <a:lnSpc>
                    <a:spcPct val="150000"/>
                  </a:lnSpc>
                  <a:buAutoNum type="arabicPeriod" startAt="2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牛客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2</a:t>
                </a:r>
              </a:p>
              <a:p>
                <a:pPr marL="342900" indent="-342900">
                  <a:lnSpc>
                    <a:spcPct val="150000"/>
                  </a:lnSpc>
                  <a:buAutoNum type="arabicPeriod" startAt="2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杭电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zh-CN" altLang="en-US" dirty="0"/>
              <a:t>两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篇博客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B8E1DB9-B720-4114-A72E-8343CDCF5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401323"/>
            <a:ext cx="8623854" cy="4055354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5F1176F6-710C-4D4D-94AE-ABEC5947765A}"/>
              </a:ext>
            </a:extLst>
          </p:cNvPr>
          <p:cNvSpPr txBox="1"/>
          <p:nvPr/>
        </p:nvSpPr>
        <p:spPr>
          <a:xfrm>
            <a:off x="10369118" y="2112885"/>
            <a:ext cx="11513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出了</a:t>
            </a:r>
            <a:r>
              <a:rPr lang="en-US" altLang="zh-CN" dirty="0"/>
              <a:t>D</a:t>
            </a:r>
          </a:p>
          <a:p>
            <a:r>
              <a:rPr lang="zh-CN" altLang="en-US" dirty="0"/>
              <a:t>补</a:t>
            </a:r>
            <a:r>
              <a:rPr lang="en-US" altLang="zh-CN" dirty="0"/>
              <a:t>F,A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7957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536ED2E-0792-42D5-94D3-7052C5147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A.Alice</a:t>
            </a:r>
            <a:r>
              <a:rPr lang="en-US" altLang="zh-CN" dirty="0"/>
              <a:t> and Bob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7AAA4C0-0142-4A01-A31D-C7F99D58C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894CD8-476A-448F-9C13-3919F40CB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5FF285F-13FD-44A8-B01C-D8BD505030BF}"/>
              </a:ext>
            </a:extLst>
          </p:cNvPr>
          <p:cNvSpPr txBox="1"/>
          <p:nvPr/>
        </p:nvSpPr>
        <p:spPr>
          <a:xfrm>
            <a:off x="669924" y="1424940"/>
            <a:ext cx="106686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博弈论 </a:t>
            </a:r>
            <a:r>
              <a:rPr lang="en-US" altLang="zh-CN" dirty="0"/>
              <a:t>sg</a:t>
            </a:r>
            <a:r>
              <a:rPr lang="zh-CN" altLang="en-US" dirty="0"/>
              <a:t>函数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一开始的思路就是通过从头枚举</a:t>
            </a:r>
            <a:r>
              <a:rPr lang="en-US" altLang="zh-CN" dirty="0"/>
              <a:t>Alice​</a:t>
            </a:r>
            <a:r>
              <a:rPr lang="zh-CN" altLang="en-US" dirty="0"/>
              <a:t>的必输态，来枚举</a:t>
            </a:r>
            <a:r>
              <a:rPr lang="en-US" altLang="zh-CN" dirty="0"/>
              <a:t>Alice​</a:t>
            </a:r>
            <a:r>
              <a:rPr lang="zh-CN" altLang="en-US" dirty="0"/>
              <a:t>的必胜态。其中还分两种情况，一种是先从</a:t>
            </a:r>
            <a:r>
              <a:rPr lang="en-US" altLang="zh-CN" dirty="0"/>
              <a:t>A​</a:t>
            </a:r>
            <a:r>
              <a:rPr lang="zh-CN" altLang="en-US" dirty="0"/>
              <a:t>中拿，一种先从</a:t>
            </a:r>
            <a:r>
              <a:rPr lang="en-US" altLang="zh-CN" dirty="0"/>
              <a:t>B</a:t>
            </a:r>
            <a:r>
              <a:rPr lang="zh-CN" altLang="en-US" dirty="0"/>
              <a:t>中拿，记录二维数组打表出来，其次运用剪枝完成，默认在打表的时候</a:t>
            </a:r>
            <a:r>
              <a:rPr lang="en-US" altLang="zh-CN" dirty="0"/>
              <a:t>j&gt;=</a:t>
            </a:r>
            <a:r>
              <a:rPr lang="en-US" altLang="zh-CN" dirty="0" err="1"/>
              <a:t>i</a:t>
            </a:r>
            <a:r>
              <a:rPr lang="zh-CN" altLang="en-US" dirty="0"/>
              <a:t>，这样在后续的打表和查询中就不用考虑</a:t>
            </a:r>
            <a:r>
              <a:rPr lang="en-US" altLang="zh-CN" dirty="0"/>
              <a:t>j&lt;</a:t>
            </a:r>
            <a:r>
              <a:rPr lang="en-US" altLang="zh-CN" dirty="0" err="1"/>
              <a:t>i</a:t>
            </a:r>
            <a:r>
              <a:rPr lang="en-US" altLang="zh-CN" dirty="0"/>
              <a:t>​</a:t>
            </a:r>
            <a:r>
              <a:rPr lang="zh-CN" altLang="en-US" dirty="0"/>
              <a:t>的情况，因为都是一样的，省去一半的时间。</a:t>
            </a:r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07139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B4CF042-E466-47E1-9426-22E71961B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F741919-D4BC-4CCF-AAC9-A9B2901B3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4614AFB-A280-42B1-AD1A-A665EF326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F609278-4FF5-4064-B680-E2AAB598184F}"/>
              </a:ext>
            </a:extLst>
          </p:cNvPr>
          <p:cNvSpPr txBox="1"/>
          <p:nvPr/>
        </p:nvSpPr>
        <p:spPr>
          <a:xfrm>
            <a:off x="669924" y="146125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894712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3CA3AC-3A96-4587-B5D0-9F516E6E8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F.Find</a:t>
            </a:r>
            <a:r>
              <a:rPr lang="en-US" altLang="zh-CN" dirty="0"/>
              <a:t> 3-friendly Integers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4B73C2-7C45-4C78-816C-145B0744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026F0E-348D-4476-AC2C-AE4130EF8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113B721-99D1-4320-AF56-2388B0552B5E}"/>
              </a:ext>
            </a:extLst>
          </p:cNvPr>
          <p:cNvSpPr txBox="1"/>
          <p:nvPr/>
        </p:nvSpPr>
        <p:spPr>
          <a:xfrm>
            <a:off x="746760" y="1371600"/>
            <a:ext cx="74828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思维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是</a:t>
            </a:r>
            <a:r>
              <a:rPr lang="en-US" altLang="zh-CN" dirty="0"/>
              <a:t>3</a:t>
            </a:r>
            <a:r>
              <a:rPr lang="zh-CN" altLang="en-US" dirty="0"/>
              <a:t>的倍数的话就是相加为</a:t>
            </a:r>
            <a:r>
              <a:rPr lang="en-US" altLang="zh-CN" dirty="0"/>
              <a:t>3</a:t>
            </a:r>
            <a:r>
              <a:rPr lang="zh-CN" altLang="en-US" dirty="0"/>
              <a:t>的倍数，可以通过余数列举情况证明，</a:t>
            </a:r>
            <a:r>
              <a:rPr lang="en-US" altLang="zh-CN" dirty="0"/>
              <a:t>3</a:t>
            </a:r>
            <a:r>
              <a:rPr lang="zh-CN" altLang="en-US" dirty="0"/>
              <a:t>位数是一定满足条件的，那么</a:t>
            </a:r>
            <a:r>
              <a:rPr lang="en-US" altLang="zh-CN" dirty="0"/>
              <a:t>3</a:t>
            </a:r>
            <a:r>
              <a:rPr lang="zh-CN" altLang="en-US" dirty="0"/>
              <a:t>位以上的数就都是满足条件的，所以只需打表出</a:t>
            </a:r>
            <a:r>
              <a:rPr lang="en-US" altLang="zh-CN" dirty="0"/>
              <a:t>1</a:t>
            </a:r>
            <a:r>
              <a:rPr lang="zh-CN" altLang="en-US" dirty="0"/>
              <a:t>，</a:t>
            </a:r>
            <a:r>
              <a:rPr lang="en-US" altLang="zh-CN" dirty="0"/>
              <a:t>2</a:t>
            </a:r>
            <a:r>
              <a:rPr lang="zh-CN" altLang="en-US" dirty="0"/>
              <a:t>位的即可。最后通过</a:t>
            </a:r>
            <a:r>
              <a:rPr lang="en-US" altLang="zh-CN" dirty="0" err="1"/>
              <a:t>upper_bound−lower_bound</a:t>
            </a:r>
            <a:r>
              <a:rPr lang="en-US" altLang="zh-CN" dirty="0"/>
              <a:t> </a:t>
            </a:r>
            <a:r>
              <a:rPr lang="zh-CN" altLang="en-US" dirty="0"/>
              <a:t>即可</a:t>
            </a:r>
          </a:p>
        </p:txBody>
      </p:sp>
    </p:spTree>
    <p:extLst>
      <p:ext uri="{BB962C8B-B14F-4D97-AF65-F5344CB8AC3E}">
        <p14:creationId xmlns:p14="http://schemas.microsoft.com/office/powerpoint/2010/main" val="17775577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27EE2FB-4397-4746-8583-F836F44D2C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代码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4EDCC39-41DD-46D6-9F4F-757B82F20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AB_IN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C6B82F9-D1D6-40C2-A9FE-C11B2F837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9285F45-F87E-43E2-9F78-DDD1B8655E17}"/>
              </a:ext>
            </a:extLst>
          </p:cNvPr>
          <p:cNvSpPr txBox="1"/>
          <p:nvPr/>
        </p:nvSpPr>
        <p:spPr>
          <a:xfrm>
            <a:off x="669924" y="159841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Ubuntu </a:t>
            </a:r>
            <a:r>
              <a:rPr lang="en-US" altLang="zh-CN" dirty="0" err="1">
                <a:hlinkClick r:id="rId2"/>
              </a:rPr>
              <a:t>Pastebi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56749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牛客</a:t>
            </a:r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zh-CN" altLang="en-US" dirty="0"/>
              <a:t>一篇博客</a:t>
            </a:r>
            <a:endParaRPr lang="en-US" altLang="zh-CN" dirty="0"/>
          </a:p>
          <a:p>
            <a:pPr lvl="0"/>
            <a:r>
              <a:rPr lang="zh-CN" altLang="en-US" dirty="0"/>
              <a:t>一个补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56804" y="1908675"/>
            <a:ext cx="1252996" cy="108943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8118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1279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D3453"/>
      </a:accent1>
      <a:accent2>
        <a:srgbClr val="5FCFBF"/>
      </a:accent2>
      <a:accent3>
        <a:srgbClr val="B1B1B1"/>
      </a:accent3>
      <a:accent4>
        <a:srgbClr val="9D9D9D"/>
      </a:accent4>
      <a:accent5>
        <a:srgbClr val="727272"/>
      </a:accent5>
      <a:accent6>
        <a:srgbClr val="616161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D3453"/>
    </a:accent1>
    <a:accent2>
      <a:srgbClr val="5FCFBF"/>
    </a:accent2>
    <a:accent3>
      <a:srgbClr val="B1B1B1"/>
    </a:accent3>
    <a:accent4>
      <a:srgbClr val="9D9D9D"/>
    </a:accent4>
    <a:accent5>
      <a:srgbClr val="727272"/>
    </a:accent5>
    <a:accent6>
      <a:srgbClr val="616161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8</TotalTime>
  <Words>411</Words>
  <Application>Microsoft Office PowerPoint</Application>
  <PresentationFormat>宽屏</PresentationFormat>
  <Paragraphs>62</Paragraphs>
  <Slides>1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20" baseType="lpstr">
      <vt:lpstr>PingFang SC</vt:lpstr>
      <vt:lpstr>Arial</vt:lpstr>
      <vt:lpstr>Calibri</vt:lpstr>
      <vt:lpstr>Impact</vt:lpstr>
      <vt:lpstr>主题5</vt:lpstr>
      <vt:lpstr>think-cell Slide</vt:lpstr>
      <vt:lpstr>暑假阶段学习总结</vt:lpstr>
      <vt:lpstr>PowerPoint 演示文稿</vt:lpstr>
      <vt:lpstr>牛客1</vt:lpstr>
      <vt:lpstr>一篇博客</vt:lpstr>
      <vt:lpstr>A.Alice and Bob</vt:lpstr>
      <vt:lpstr>代码</vt:lpstr>
      <vt:lpstr>F.Find 3-friendly Integers</vt:lpstr>
      <vt:lpstr>代码</vt:lpstr>
      <vt:lpstr>牛客2</vt:lpstr>
      <vt:lpstr>一篇博客</vt:lpstr>
      <vt:lpstr>I.Penguins</vt:lpstr>
      <vt:lpstr>代码</vt:lpstr>
      <vt:lpstr>杭电1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刘 思远</cp:lastModifiedBy>
  <cp:revision>6</cp:revision>
  <cp:lastPrinted>2018-08-20T16:00:00Z</cp:lastPrinted>
  <dcterms:created xsi:type="dcterms:W3CDTF">2018-08-20T16:00:00Z</dcterms:created>
  <dcterms:modified xsi:type="dcterms:W3CDTF">2021-07-23T02:0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